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360" r:id="rId2"/>
    <p:sldId id="392" r:id="rId3"/>
    <p:sldId id="365" r:id="rId4"/>
    <p:sldId id="378" r:id="rId5"/>
    <p:sldId id="358" r:id="rId6"/>
    <p:sldId id="359" r:id="rId7"/>
    <p:sldId id="371" r:id="rId8"/>
    <p:sldId id="366" r:id="rId9"/>
    <p:sldId id="380" r:id="rId10"/>
    <p:sldId id="354" r:id="rId11"/>
    <p:sldId id="355" r:id="rId12"/>
    <p:sldId id="356" r:id="rId13"/>
    <p:sldId id="390" r:id="rId14"/>
    <p:sldId id="384" r:id="rId15"/>
    <p:sldId id="399" r:id="rId16"/>
    <p:sldId id="396" r:id="rId17"/>
    <p:sldId id="397" r:id="rId18"/>
    <p:sldId id="398" r:id="rId19"/>
    <p:sldId id="393" r:id="rId20"/>
    <p:sldId id="400" r:id="rId21"/>
    <p:sldId id="394" r:id="rId22"/>
  </p:sldIdLst>
  <p:sldSz cx="12192000" cy="6858000"/>
  <p:notesSz cx="6858000" cy="9144000"/>
  <p:custDataLst>
    <p:tags r:id="rId23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30" autoAdjust="0"/>
    <p:restoredTop sz="94239"/>
  </p:normalViewPr>
  <p:slideViewPr>
    <p:cSldViewPr snapToGrid="0">
      <p:cViewPr varScale="1">
        <p:scale>
          <a:sx n="59" d="100"/>
          <a:sy n="59" d="100"/>
        </p:scale>
        <p:origin x="99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9988FB-F199-4B8B-93CE-D9B0679102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AB9A2D-0FED-41C4-AEFB-CD1180C646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E110CA-CCD8-4E97-A93C-7EF5400807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82907-619F-4715-80F0-2772D276E72E}" type="datetimeFigureOut">
              <a:rPr lang="en-AU" smtClean="0"/>
              <a:t>20/04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B619A1-8DDD-4A0E-AF1A-47588BAC5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FB1507-C5AC-492B-A536-3F1B4C4F6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0ABFE-453A-4CED-A6EC-618BF0A8008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94711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6EDAAB-9358-4DAC-AE79-597DACE600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80837FD-D2FD-4913-8037-F3C1564CAC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46B4E0-48BE-4CC6-A0D3-5A7F8D0BED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82907-619F-4715-80F0-2772D276E72E}" type="datetimeFigureOut">
              <a:rPr lang="en-AU" smtClean="0"/>
              <a:t>20/04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2737BC-57FF-4DFD-8F8D-4CD455D18F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945654-97E0-4EC4-A162-32F3E963C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0ABFE-453A-4CED-A6EC-618BF0A8008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962955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16F1ACF-E1E8-4180-9F44-B79721651DD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3665CF-35B2-45A1-962D-2642A51C39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333EC6-B00A-406F-AA5A-2B12BB35F5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82907-619F-4715-80F0-2772D276E72E}" type="datetimeFigureOut">
              <a:rPr lang="en-AU" smtClean="0"/>
              <a:t>20/04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2AA333-3E64-48C0-BC04-F9C9041966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315071-E7CD-455D-9F81-53944BCE1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0ABFE-453A-4CED-A6EC-618BF0A8008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083641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8CC128-CE8E-4A1F-9A8F-F9D92227A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A53249-CD1E-472C-BEEB-72A67356F1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25CDAA-2139-4BEE-99F7-226D3FDBC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82907-619F-4715-80F0-2772D276E72E}" type="datetimeFigureOut">
              <a:rPr lang="en-AU" smtClean="0"/>
              <a:t>20/04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282084-B0DE-4E3B-B76D-FF7B7E9F2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E47FC4-0E86-432A-B93B-383610340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0ABFE-453A-4CED-A6EC-618BF0A8008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786373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602683-AE2C-4D95-9E96-63B0A4323B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150E4-183D-4188-87C6-40B1A399A4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212A53-65F6-4184-AA1F-1887394944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82907-619F-4715-80F0-2772D276E72E}" type="datetimeFigureOut">
              <a:rPr lang="en-AU" smtClean="0"/>
              <a:t>20/04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A2D6FF-1337-4F9F-AF1A-7C18C673B1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DEA610-1F9B-45FA-B9CB-7C380A667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0ABFE-453A-4CED-A6EC-618BF0A8008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095648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7B244D-DC1C-43B2-B76D-806F7BB094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285B3E-9061-47FF-BE0B-F8DF4F3857E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49D731-CA21-448D-A353-D1E976AEBD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98EAA2-8DE0-4E83-8904-ED0D5B0AB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82907-619F-4715-80F0-2772D276E72E}" type="datetimeFigureOut">
              <a:rPr lang="en-AU" smtClean="0"/>
              <a:t>20/04/2023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86C733-E62D-4D87-A576-FBC5DBD88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A0F292-F639-43FA-918E-5780B50999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0ABFE-453A-4CED-A6EC-618BF0A8008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743236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30A4-5F34-4E21-8F54-9263DCE10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10EDE0-8BDF-4E09-B4B4-430060E5DB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3992D0-06BD-4783-82BC-A11B0A41A0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27C53D-EF67-4750-A48F-B27D53AEDA5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7CFE43C-E8AB-417F-B870-E2417AEB79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44B5C33-C809-4621-BE8D-45895DD42C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82907-619F-4715-80F0-2772D276E72E}" type="datetimeFigureOut">
              <a:rPr lang="en-AU" smtClean="0"/>
              <a:t>20/04/2023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EE91D9-A360-43B8-B71F-8BAED902E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C8A69E-17A5-4BF2-855D-26D855074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0ABFE-453A-4CED-A6EC-618BF0A8008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786711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40A6E0-5828-4452-9553-10F97C5090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F63661-BD1D-4BF6-8B55-FDE9C41160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82907-619F-4715-80F0-2772D276E72E}" type="datetimeFigureOut">
              <a:rPr lang="en-AU" smtClean="0"/>
              <a:t>20/04/2023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3DB88D-414C-48D6-B533-4371F9D98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732D2-506E-405E-B9B5-6C9AB1209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0ABFE-453A-4CED-A6EC-618BF0A8008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602277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F32E7C-7841-43C3-86D9-6B722CC924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82907-619F-4715-80F0-2772D276E72E}" type="datetimeFigureOut">
              <a:rPr lang="en-AU" smtClean="0"/>
              <a:t>20/04/2023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6B38DF-B0BD-43C1-B2CD-5034A816A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0367A7-575B-4E24-92DA-C061A3ECF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0ABFE-453A-4CED-A6EC-618BF0A8008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670143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3E9642-E284-40F3-939A-FD0798EE3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1A6AC5-5E82-4CE1-8120-118D9C5431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07528D-D39E-4939-B21A-CAE127D92B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26CCFB-2FCA-41D9-B6C6-37D202C615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82907-619F-4715-80F0-2772D276E72E}" type="datetimeFigureOut">
              <a:rPr lang="en-AU" smtClean="0"/>
              <a:t>20/04/2023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5A1067-A0F9-4564-AC1E-E9E0AB8DC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C9F409-EADE-44AB-907C-EEC9D939B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0ABFE-453A-4CED-A6EC-618BF0A8008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537035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17778-0F43-45F3-84C2-A70C8A18B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C69A67-401C-4349-A0DE-17B77F6904E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097FF7-8ABE-46A0-BD6B-1AA005568C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BC6658-D4FA-4727-82D3-E5EC2B479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82907-619F-4715-80F0-2772D276E72E}" type="datetimeFigureOut">
              <a:rPr lang="en-AU" smtClean="0"/>
              <a:t>20/04/2023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A090C6-C8F1-4C31-A9EF-49B219E7C7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7A010B-C3D3-4164-AE83-72C820F1DC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0ABFE-453A-4CED-A6EC-618BF0A8008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113528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9D0234A-E635-4005-BCB6-2C70E0BE2F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2096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9D0234A-E635-4005-BCB6-2C70E0BE2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582AF1-FAA8-41AB-AEF3-29DBCB4D3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162DDA-633A-4F30-87C3-E580F46639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AE3EFD-073B-493B-B60D-009D951207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782907-619F-4715-80F0-2772D276E72E}" type="datetimeFigureOut">
              <a:rPr lang="en-AU" smtClean="0"/>
              <a:t>20/04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CC6F69-6977-43CA-A090-BD2C26517C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0DEBCB-79DB-48A9-B8DE-FDBFCEB8BF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40ABFE-453A-4CED-A6EC-618BF0A8008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81797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Gävle GK – </a:t>
            </a:r>
            <a:r>
              <a:rPr lang="sv-SE" sz="4400" dirty="0">
                <a:solidFill>
                  <a:prstClr val="black"/>
                </a:solidFill>
                <a:latin typeface="Calibri Light" panose="020F0302020204030204"/>
              </a:rPr>
              <a:t>Föräldramöte</a:t>
            </a:r>
            <a:endParaRPr kumimoji="0" lang="sv-SE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2A9C6BD4-3A8D-5D9C-88D2-9D7B238976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9305" y="2545491"/>
            <a:ext cx="2436883" cy="3400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9393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9209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986D90F-71C7-E4DC-B42F-9AF961BF49C3}"/>
              </a:ext>
            </a:extLst>
          </p:cNvPr>
          <p:cNvSpPr/>
          <p:nvPr/>
        </p:nvSpPr>
        <p:spPr>
          <a:xfrm>
            <a:off x="838200" y="2233288"/>
            <a:ext cx="2170672" cy="364852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rn 10-12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räcklig träningstid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räcklig sparring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räcklig coachning och tränarstöd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räcklig mängd tävlingar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71E2434-1374-D38F-2988-1C49DC678FE9}"/>
              </a:ext>
            </a:extLst>
          </p:cNvPr>
          <p:cNvSpPr txBox="1">
            <a:spLocks/>
          </p:cNvSpPr>
          <p:nvPr/>
        </p:nvSpPr>
        <p:spPr>
          <a:xfrm>
            <a:off x="990600" y="3365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Idrottsutveckling för våra barn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B0C91C1-5314-6023-0BB9-F627D70C7E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43327" y="4765012"/>
            <a:ext cx="960418" cy="63019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FC78450-B47D-828D-5C01-12B434D9E2E4}"/>
              </a:ext>
            </a:extLst>
          </p:cNvPr>
          <p:cNvSpPr txBox="1"/>
          <p:nvPr/>
        </p:nvSpPr>
        <p:spPr>
          <a:xfrm>
            <a:off x="3443650" y="2881873"/>
            <a:ext cx="260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ör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nna</a:t>
            </a: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8138339-8940-F2AA-F58E-1C83E962D4C3}"/>
              </a:ext>
            </a:extLst>
          </p:cNvPr>
          <p:cNvSpPr txBox="1"/>
          <p:nvPr/>
        </p:nvSpPr>
        <p:spPr>
          <a:xfrm>
            <a:off x="3443650" y="3429000"/>
            <a:ext cx="260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ör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</a:t>
            </a: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AC6082-A4E8-CB8B-33EB-BE37F1D2B0E5}"/>
              </a:ext>
            </a:extLst>
          </p:cNvPr>
          <p:cNvSpPr txBox="1"/>
          <p:nvPr/>
        </p:nvSpPr>
        <p:spPr>
          <a:xfrm>
            <a:off x="3450061" y="3917814"/>
            <a:ext cx="260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r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ig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A57BE3-150B-81C3-6A9B-58463AD6EC00}"/>
              </a:ext>
            </a:extLst>
          </p:cNvPr>
          <p:cNvSpPr txBox="1"/>
          <p:nvPr/>
        </p:nvSpPr>
        <p:spPr>
          <a:xfrm>
            <a:off x="3450061" y="4406628"/>
            <a:ext cx="260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r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C79BAC-00B0-A1A1-7A97-C29F84FD8289}"/>
              </a:ext>
            </a:extLst>
          </p:cNvPr>
          <p:cNvSpPr txBox="1"/>
          <p:nvPr/>
        </p:nvSpPr>
        <p:spPr>
          <a:xfrm>
            <a:off x="3450061" y="4895442"/>
            <a:ext cx="260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örj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D0C5D33-E7F2-1179-72E7-BCF76379AACE}"/>
              </a:ext>
            </a:extLst>
          </p:cNvPr>
          <p:cNvSpPr txBox="1"/>
          <p:nvPr/>
        </p:nvSpPr>
        <p:spPr>
          <a:xfrm>
            <a:off x="5711970" y="2451372"/>
            <a:ext cx="547396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or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ocus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GUBBS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v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å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ll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yg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veckl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t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ång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le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ee till green för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öjliggö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flytt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ll 18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ålsbana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upp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d PGA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r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ckobasis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ma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ös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äldrarnas och Ledarna stöd står för den dominerande delen av utvecklingstiden för att hjälpa våra barn den här åldern. 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smängd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nuari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September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nt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ggr/v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nt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upp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pire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ll/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roduce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g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ma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ös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gg/v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upp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g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l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gg/v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roduce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örels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ys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g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-3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ga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e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gars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linga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nder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re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200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ig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ig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spel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Match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lg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l av 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rotten golf, alla är med, integrerat i träning. </a:t>
            </a:r>
            <a:r>
              <a:rPr kumimoji="0" lang="sv-SE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våregelerat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Tävling kortbana, P&amp;P och på 18 hålsbanan. Lag och individuell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smängd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 10+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a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om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sgrupp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lang="en-AU" sz="1200" dirty="0">
                <a:solidFill>
                  <a:prstClr val="black"/>
                </a:solidFill>
                <a:latin typeface="Calibri" panose="020F0502020204030204"/>
              </a:rPr>
              <a:t>ICA Tou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PQ Tour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ästrik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älsing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u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87587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811077B-5382-1BA2-65D3-1121A21FF74F}"/>
              </a:ext>
            </a:extLst>
          </p:cNvPr>
          <p:cNvSpPr/>
          <p:nvPr/>
        </p:nvSpPr>
        <p:spPr>
          <a:xfrm>
            <a:off x="838200" y="2233287"/>
            <a:ext cx="2170672" cy="3648527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gdom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3-16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räcklig träningstid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räcklig sparring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räcklig coachning och tränarstöd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räcklig mängd tävlingar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12A275-E383-9379-4F4D-B041B696EA38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Idrottsutveckling för våra ungdomar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4307B0-BED5-CE5E-4C15-9C07ED709E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43327" y="4765012"/>
            <a:ext cx="960418" cy="63019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C115FC8-6463-B7A7-728F-6B4E58542C9A}"/>
              </a:ext>
            </a:extLst>
          </p:cNvPr>
          <p:cNvSpPr txBox="1"/>
          <p:nvPr/>
        </p:nvSpPr>
        <p:spPr>
          <a:xfrm>
            <a:off x="3443650" y="2881873"/>
            <a:ext cx="260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ör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nna</a:t>
            </a: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BCF000-75C0-6750-EFE8-B96D6F64C381}"/>
              </a:ext>
            </a:extLst>
          </p:cNvPr>
          <p:cNvSpPr txBox="1"/>
          <p:nvPr/>
        </p:nvSpPr>
        <p:spPr>
          <a:xfrm>
            <a:off x="3443650" y="3429000"/>
            <a:ext cx="260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ör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</a:t>
            </a: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B9A7513-072E-C9AC-9B4B-B4978E390CA9}"/>
              </a:ext>
            </a:extLst>
          </p:cNvPr>
          <p:cNvSpPr txBox="1"/>
          <p:nvPr/>
        </p:nvSpPr>
        <p:spPr>
          <a:xfrm>
            <a:off x="3450061" y="3917814"/>
            <a:ext cx="260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r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ig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EA82F7-9F03-F3DC-2E37-4B35F443A938}"/>
              </a:ext>
            </a:extLst>
          </p:cNvPr>
          <p:cNvSpPr txBox="1"/>
          <p:nvPr/>
        </p:nvSpPr>
        <p:spPr>
          <a:xfrm>
            <a:off x="3450061" y="4406628"/>
            <a:ext cx="260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r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2B5F5B6-ED11-974A-ECB7-B4E1CCC948AD}"/>
              </a:ext>
            </a:extLst>
          </p:cNvPr>
          <p:cNvSpPr txBox="1"/>
          <p:nvPr/>
        </p:nvSpPr>
        <p:spPr>
          <a:xfrm>
            <a:off x="3450061" y="4895442"/>
            <a:ext cx="260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örj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88FE3E6-0BF4-9488-6CA2-EE9BE16F5040}"/>
              </a:ext>
            </a:extLst>
          </p:cNvPr>
          <p:cNvSpPr txBox="1"/>
          <p:nvPr/>
        </p:nvSpPr>
        <p:spPr>
          <a:xfrm>
            <a:off x="5780981" y="1982089"/>
            <a:ext cx="547396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tsat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or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ocus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örels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v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smängd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itch, chip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utt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ökas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ör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passas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ll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l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8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ålsban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Steg för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e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ig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del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om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lik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råd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öv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såels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ör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ll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ä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ångsikti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gg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undkunskap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ställ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knik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llflyk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ata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s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und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ör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nn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rrige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g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and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jälp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roduktio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v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lik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ester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l av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ckouppgif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börj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stik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ig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stå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u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ester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stik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ä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kty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ör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veck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flekte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öv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ulta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stå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fek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upp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d PGA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r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ckobasis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nt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ma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ös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lette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d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skild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a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d PGA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r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smängd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nuari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December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nt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ggr/v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nt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upp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g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ggr/v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ma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ös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gg/v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upp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g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l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gg/v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örels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ys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g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-3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ga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lt 1v 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e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gars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linga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nder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re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ig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u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n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bered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ig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ö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pel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ätt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lpla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värm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art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u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ntera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n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änslo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teend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nder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ig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utin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ö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lag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å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ag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å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itt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äst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ag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j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given situation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smängd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 10+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a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Q Tour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ästrik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älsing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ur, Teen Tour First, Teen  Tour </a:t>
            </a:r>
            <a:r>
              <a:rPr lang="en-AU" sz="1200" dirty="0" err="1">
                <a:solidFill>
                  <a:prstClr val="black"/>
                </a:solidFill>
                <a:latin typeface="Calibri" panose="020F0502020204030204"/>
              </a:rPr>
              <a:t>Challang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Teen Tour Elite, JMI, KM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SM</a:t>
            </a:r>
          </a:p>
        </p:txBody>
      </p:sp>
    </p:spTree>
    <p:extLst>
      <p:ext uri="{BB962C8B-B14F-4D97-AF65-F5344CB8AC3E}">
        <p14:creationId xmlns:p14="http://schemas.microsoft.com/office/powerpoint/2010/main" val="36901331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98AECB4-8CDE-FBDE-7D1E-1AF635DFE0F2}"/>
              </a:ext>
            </a:extLst>
          </p:cNvPr>
          <p:cNvSpPr/>
          <p:nvPr/>
        </p:nvSpPr>
        <p:spPr>
          <a:xfrm>
            <a:off x="838200" y="2233286"/>
            <a:ext cx="2170672" cy="364852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itjun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7-21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räcklig träningstid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räcklig sparring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räcklig coachning och tränarstöd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räcklig mängd tävlingar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5239D5C-3B6E-9566-D1BE-A465E0F21842}"/>
              </a:ext>
            </a:extLst>
          </p:cNvPr>
          <p:cNvSpPr txBox="1"/>
          <p:nvPr/>
        </p:nvSpPr>
        <p:spPr>
          <a:xfrm>
            <a:off x="3443650" y="2881873"/>
            <a:ext cx="260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ör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nna</a:t>
            </a: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935E00-C32A-DC21-FA9E-8F9E671BA6EA}"/>
              </a:ext>
            </a:extLst>
          </p:cNvPr>
          <p:cNvSpPr txBox="1"/>
          <p:nvPr/>
        </p:nvSpPr>
        <p:spPr>
          <a:xfrm>
            <a:off x="3443650" y="3429000"/>
            <a:ext cx="260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ör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</a:t>
            </a: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28C13CE-C491-3313-63DA-7EF162300595}"/>
              </a:ext>
            </a:extLst>
          </p:cNvPr>
          <p:cNvSpPr txBox="1"/>
          <p:nvPr/>
        </p:nvSpPr>
        <p:spPr>
          <a:xfrm>
            <a:off x="5780981" y="2236803"/>
            <a:ext cx="547396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ge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sva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ör sin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veck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spel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d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t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ätverk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Bra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lans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g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arrad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achad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lan för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veck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ehålland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de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v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iodiser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d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fek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in score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ä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ag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finn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ifrå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in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måg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ina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ål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stå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iv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vänd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lock practice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andom practice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Ök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fektivitet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d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m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s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värder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v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måg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d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jälp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v data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terkopp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ll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nskap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m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ridningsmönst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g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måg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ör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me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lstrategi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pass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terskap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slik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tuation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bered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ig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nn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äst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viduell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d PGA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re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smängd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00-1500h/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nt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-2ggr/v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upp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edan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g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3-5gg/v. Sommar 1ggr/v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upp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edan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g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4-5ggr/v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g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v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nt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er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dagarssamlinga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ös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dareutveckl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v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beredels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utin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värmn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pel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ätt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lpla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lang="en-AU" sz="1200" dirty="0" err="1">
                <a:solidFill>
                  <a:prstClr val="black"/>
                </a:solidFill>
                <a:latin typeface="Calibri" panose="020F0502020204030204"/>
              </a:rPr>
              <a:t>Kunskap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åll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teende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avset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änslo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u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n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berede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ig för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l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st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upp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nna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smängd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 10+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ar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een Tour, JMI</a:t>
            </a:r>
            <a:r>
              <a:rPr lang="en-AU" sz="12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sterCard Tour, Nordic Tour, Future Series, </a:t>
            </a:r>
            <a:r>
              <a:rPr kumimoji="0" lang="en-A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ndslagsuppra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college, KM, JSM</a:t>
            </a:r>
            <a:r>
              <a:rPr lang="en-AU" sz="12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AU" sz="1200" dirty="0" err="1">
                <a:solidFill>
                  <a:prstClr val="black"/>
                </a:solidFill>
                <a:latin typeface="Calibri" panose="020F0502020204030204"/>
              </a:rPr>
              <a:t>och</a:t>
            </a:r>
            <a:r>
              <a:rPr lang="en-AU" sz="12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g SM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28A2980-2A84-FDBB-F03B-CD0A0036EBC5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Idrottsutveckling för våra elitjuniorer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8C71FBF-0FA1-DC30-DA99-671117D6C5B0}"/>
              </a:ext>
            </a:extLst>
          </p:cNvPr>
          <p:cNvSpPr txBox="1"/>
          <p:nvPr/>
        </p:nvSpPr>
        <p:spPr>
          <a:xfrm>
            <a:off x="3450061" y="3917814"/>
            <a:ext cx="260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r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ig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19D4377-1165-1C83-2661-B645FCDF1607}"/>
              </a:ext>
            </a:extLst>
          </p:cNvPr>
          <p:cNvSpPr txBox="1"/>
          <p:nvPr/>
        </p:nvSpPr>
        <p:spPr>
          <a:xfrm>
            <a:off x="3450061" y="4406628"/>
            <a:ext cx="260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r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450A879-E2C9-1720-CB39-DCD6BFDC1E2F}"/>
              </a:ext>
            </a:extLst>
          </p:cNvPr>
          <p:cNvSpPr txBox="1"/>
          <p:nvPr/>
        </p:nvSpPr>
        <p:spPr>
          <a:xfrm>
            <a:off x="3450061" y="4895442"/>
            <a:ext cx="260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örj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a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692FAA-025E-E5EE-6120-71B0EDCAED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75867" y="4823379"/>
            <a:ext cx="897708" cy="589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4221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Tävl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2A9C6BD4-3A8D-5D9C-88D2-9D7B238976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9305" y="2545491"/>
            <a:ext cx="2436883" cy="3400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9755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Tävling – de olika stegen 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796CA7A-0E50-535D-8B28-92725DFB6C26}"/>
              </a:ext>
            </a:extLst>
          </p:cNvPr>
          <p:cNvSpPr txBox="1"/>
          <p:nvPr/>
        </p:nvSpPr>
        <p:spPr>
          <a:xfrm>
            <a:off x="8772760" y="6135297"/>
            <a:ext cx="314720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</a:t>
            </a:r>
            <a:r>
              <a:rPr kumimoji="0" lang="en-AU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nkinggrundande</a:t>
            </a:r>
            <a:r>
              <a:rPr kumimoji="0" lang="en-A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ar</a:t>
            </a:r>
            <a:r>
              <a:rPr kumimoji="0" lang="en-A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SGF Ranking)</a:t>
            </a:r>
            <a:br>
              <a:rPr kumimoji="0" lang="en-A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A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 2 av 6 </a:t>
            </a:r>
            <a:r>
              <a:rPr kumimoji="0" lang="en-AU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ar</a:t>
            </a:r>
            <a:r>
              <a:rPr kumimoji="0" lang="en-A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nkinggrundande</a:t>
            </a:r>
            <a:r>
              <a:rPr kumimoji="0" lang="en-A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SGF Ranking)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4830523-86F3-85FF-877E-FFC332180857}"/>
              </a:ext>
            </a:extLst>
          </p:cNvPr>
          <p:cNvSpPr/>
          <p:nvPr/>
        </p:nvSpPr>
        <p:spPr>
          <a:xfrm>
            <a:off x="838200" y="3367612"/>
            <a:ext cx="1723712" cy="113512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CA Tour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8B3AB9E-E93B-BE11-8E99-7F6A9925814C}"/>
              </a:ext>
            </a:extLst>
          </p:cNvPr>
          <p:cNvSpPr/>
          <p:nvPr/>
        </p:nvSpPr>
        <p:spPr>
          <a:xfrm>
            <a:off x="2606376" y="3367612"/>
            <a:ext cx="1723712" cy="113512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Q Tour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0378BDC-311B-CC66-B9A5-E9A6AC629844}"/>
              </a:ext>
            </a:extLst>
          </p:cNvPr>
          <p:cNvSpPr/>
          <p:nvPr/>
        </p:nvSpPr>
        <p:spPr>
          <a:xfrm>
            <a:off x="4374552" y="3367612"/>
            <a:ext cx="1723712" cy="113512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ästrike</a:t>
            </a: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n-AU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älsinge</a:t>
            </a: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u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100" b="1" dirty="0" err="1">
                <a:solidFill>
                  <a:prstClr val="black"/>
                </a:solidFill>
                <a:latin typeface="Calibri" panose="020F0502020204030204"/>
              </a:rPr>
              <a:t>SvJrT</a:t>
            </a:r>
            <a:r>
              <a:rPr lang="en-AU" sz="1100" b="1" dirty="0">
                <a:solidFill>
                  <a:prstClr val="black"/>
                </a:solidFill>
                <a:latin typeface="Calibri" panose="020F0502020204030204"/>
              </a:rPr>
              <a:t> div 3</a:t>
            </a: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A3E1D88-01E7-543D-5A45-9450880B0CA4}"/>
              </a:ext>
            </a:extLst>
          </p:cNvPr>
          <p:cNvSpPr/>
          <p:nvPr/>
        </p:nvSpPr>
        <p:spPr>
          <a:xfrm>
            <a:off x="6142728" y="3367612"/>
            <a:ext cx="1723712" cy="111130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en </a:t>
            </a:r>
            <a:r>
              <a:rPr lang="en-AU" sz="1100" b="1" dirty="0">
                <a:solidFill>
                  <a:prstClr val="black"/>
                </a:solidFill>
                <a:latin typeface="Calibri" panose="020F0502020204030204"/>
              </a:rPr>
              <a:t>Cup</a:t>
            </a: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100" b="1" dirty="0" err="1">
                <a:solidFill>
                  <a:prstClr val="black"/>
                </a:solidFill>
                <a:latin typeface="Calibri" panose="020F0502020204030204"/>
              </a:rPr>
              <a:t>SvJrT</a:t>
            </a:r>
            <a:r>
              <a:rPr lang="en-AU" sz="1100" b="1" dirty="0">
                <a:solidFill>
                  <a:prstClr val="black"/>
                </a:solidFill>
                <a:latin typeface="Calibri" panose="020F0502020204030204"/>
              </a:rPr>
              <a:t> div 2 </a:t>
            </a: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MI*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D0E5DF6-7C85-8FA7-2C94-42C75F729645}"/>
              </a:ext>
            </a:extLst>
          </p:cNvPr>
          <p:cNvSpPr/>
          <p:nvPr/>
        </p:nvSpPr>
        <p:spPr>
          <a:xfrm>
            <a:off x="7910904" y="3343794"/>
            <a:ext cx="1723712" cy="113512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100" b="1" dirty="0" err="1">
                <a:solidFill>
                  <a:prstClr val="black"/>
                </a:solidFill>
                <a:latin typeface="Calibri" panose="020F0502020204030204"/>
              </a:rPr>
              <a:t>SvJrT</a:t>
            </a:r>
            <a:r>
              <a:rPr lang="en-AU" sz="1100" b="1" dirty="0">
                <a:solidFill>
                  <a:prstClr val="black"/>
                </a:solidFill>
                <a:latin typeface="Calibri" panose="020F0502020204030204"/>
              </a:rPr>
              <a:t> div 1 </a:t>
            </a:r>
            <a:r>
              <a:rPr lang="en-AU" sz="1100" b="1" dirty="0" err="1">
                <a:solidFill>
                  <a:prstClr val="black"/>
                </a:solidFill>
                <a:latin typeface="Calibri" panose="020F0502020204030204"/>
              </a:rPr>
              <a:t>och</a:t>
            </a:r>
            <a:r>
              <a:rPr lang="en-AU" sz="11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AU" sz="1100" b="1" dirty="0" err="1">
                <a:solidFill>
                  <a:prstClr val="black"/>
                </a:solidFill>
                <a:latin typeface="Calibri" panose="020F0502020204030204"/>
              </a:rPr>
              <a:t>Elit</a:t>
            </a:r>
            <a:r>
              <a:rPr lang="en-AU" sz="11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nationellt*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ture Series*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80FCE3F-D339-5EBE-41CB-23EA37B0F328}"/>
              </a:ext>
            </a:extLst>
          </p:cNvPr>
          <p:cNvSpPr/>
          <p:nvPr/>
        </p:nvSpPr>
        <p:spPr>
          <a:xfrm>
            <a:off x="9679080" y="3328602"/>
            <a:ext cx="1723712" cy="113512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llege*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sterCard Tour* (H)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rdic Tour* (D)</a:t>
            </a:r>
          </a:p>
        </p:txBody>
      </p:sp>
    </p:spTree>
    <p:extLst>
      <p:ext uri="{BB962C8B-B14F-4D97-AF65-F5344CB8AC3E}">
        <p14:creationId xmlns:p14="http://schemas.microsoft.com/office/powerpoint/2010/main" val="40720359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Tävling – vi åker som lag men tävlar individuell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ruta 9">
            <a:extLst>
              <a:ext uri="{FF2B5EF4-FFF2-40B4-BE49-F238E27FC236}">
                <a16:creationId xmlns:a16="http://schemas.microsoft.com/office/drawing/2014/main" id="{8008794A-36E4-573C-86B4-601EA4396602}"/>
              </a:ext>
            </a:extLst>
          </p:cNvPr>
          <p:cNvSpPr txBox="1"/>
          <p:nvPr/>
        </p:nvSpPr>
        <p:spPr>
          <a:xfrm>
            <a:off x="838200" y="1780203"/>
            <a:ext cx="7581884" cy="48936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Varje spelare anmäler sig själv till tävlingar via ”</a:t>
            </a:r>
            <a:r>
              <a:rPr lang="sv-SE" sz="2400" dirty="0" err="1"/>
              <a:t>MinGolf</a:t>
            </a:r>
            <a:r>
              <a:rPr lang="sv-SE" sz="2400" dirty="0"/>
              <a:t>”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Vi lägger ut info på </a:t>
            </a:r>
            <a:r>
              <a:rPr lang="sv-SE" sz="2400" dirty="0" err="1"/>
              <a:t>laget.se</a:t>
            </a:r>
            <a:r>
              <a:rPr lang="sv-SE" sz="2400" dirty="0"/>
              <a:t> om sista anmälningsdatu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Viktigt att ha framförhålln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Vi samåker i största möjliga må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Jobbar med små delmål på tävl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Jobba med attity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2400" dirty="0"/>
          </a:p>
          <a:p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33022045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4400" dirty="0">
                <a:solidFill>
                  <a:prstClr val="black"/>
                </a:solidFill>
                <a:latin typeface="Calibri Light" panose="020F0302020204030204"/>
              </a:rPr>
              <a:t>Svenska Juniortouren – tidigare Teen Tour</a:t>
            </a:r>
            <a:endParaRPr kumimoji="0" lang="sv-SE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Bildobjekt 2" descr="En bild som visar text&#10;&#10;Automatiskt genererad beskrivning">
            <a:extLst>
              <a:ext uri="{FF2B5EF4-FFF2-40B4-BE49-F238E27FC236}">
                <a16:creationId xmlns:a16="http://schemas.microsoft.com/office/drawing/2014/main" id="{73B5D5E8-8439-71A0-6CDE-1319D470EBA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0" y="1725930"/>
            <a:ext cx="7772400" cy="4733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4811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2DD591B-DF7A-D04B-65E1-5D9D45ABA9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5" name="Platshållare för innehåll 4" descr="En bild som visar text&#10;&#10;Automatiskt genererad beskrivning">
            <a:extLst>
              <a:ext uri="{FF2B5EF4-FFF2-40B4-BE49-F238E27FC236}">
                <a16:creationId xmlns:a16="http://schemas.microsoft.com/office/drawing/2014/main" id="{B923D45E-2D77-2C87-5EDA-EBDAE3F0B19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226786"/>
            <a:ext cx="10515600" cy="6404427"/>
          </a:xfrm>
        </p:spPr>
      </p:pic>
    </p:spTree>
    <p:extLst>
      <p:ext uri="{BB962C8B-B14F-4D97-AF65-F5344CB8AC3E}">
        <p14:creationId xmlns:p14="http://schemas.microsoft.com/office/powerpoint/2010/main" val="4722120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Tävling – Svenska juniortoure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ruta 1">
            <a:extLst>
              <a:ext uri="{FF2B5EF4-FFF2-40B4-BE49-F238E27FC236}">
                <a16:creationId xmlns:a16="http://schemas.microsoft.com/office/drawing/2014/main" id="{68406B39-0CE8-536D-7889-A9D7AB8D70AC}"/>
              </a:ext>
            </a:extLst>
          </p:cNvPr>
          <p:cNvSpPr txBox="1"/>
          <p:nvPr/>
        </p:nvSpPr>
        <p:spPr>
          <a:xfrm>
            <a:off x="1828800" y="2467778"/>
            <a:ext cx="9451305" cy="3046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Skapa konto på </a:t>
            </a:r>
            <a:r>
              <a:rPr lang="sv-SE" sz="2400" dirty="0" err="1"/>
              <a:t>Mingolf</a:t>
            </a:r>
            <a:endParaRPr lang="sv-S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Anmälan enl. förutbestämd </a:t>
            </a:r>
            <a:r>
              <a:rPr lang="sv-SE" sz="2400" dirty="0" err="1"/>
              <a:t>prio</a:t>
            </a:r>
            <a:r>
              <a:rPr lang="sv-SE" sz="2400" dirty="0"/>
              <a:t>, för att kunna samåka och utveckla och </a:t>
            </a:r>
            <a:br>
              <a:rPr lang="sv-SE" sz="2400" dirty="0"/>
            </a:br>
            <a:r>
              <a:rPr lang="sv-SE" sz="2400" dirty="0"/>
              <a:t>följa upp grabbarnas spel på bana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Registrering 2 dagar innan sta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”</a:t>
            </a:r>
            <a:r>
              <a:rPr lang="sv-SE" sz="2400" dirty="0" err="1"/>
              <a:t>WhatsUp</a:t>
            </a:r>
            <a:r>
              <a:rPr lang="sv-SE" sz="2400" dirty="0"/>
              <a:t>”- grupp för samordning.</a:t>
            </a:r>
          </a:p>
        </p:txBody>
      </p:sp>
    </p:spTree>
    <p:extLst>
      <p:ext uri="{BB962C8B-B14F-4D97-AF65-F5344CB8AC3E}">
        <p14:creationId xmlns:p14="http://schemas.microsoft.com/office/powerpoint/2010/main" val="5649998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4400" dirty="0">
                <a:solidFill>
                  <a:prstClr val="black"/>
                </a:solidFill>
                <a:latin typeface="Calibri Light" panose="020F0302020204030204"/>
              </a:rPr>
              <a:t>Säsongen 2023</a:t>
            </a:r>
            <a:endParaRPr kumimoji="0" lang="sv-SE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2A9C6BD4-3A8D-5D9C-88D2-9D7B238976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9305" y="2545491"/>
            <a:ext cx="2436883" cy="3400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01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Gävle GK – Idrottsutveckling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8BDC42BB-5269-CF04-42FB-AB217A3E2713}"/>
              </a:ext>
            </a:extLst>
          </p:cNvPr>
          <p:cNvSpPr txBox="1"/>
          <p:nvPr/>
        </p:nvSpPr>
        <p:spPr>
          <a:xfrm>
            <a:off x="838200" y="2698418"/>
            <a:ext cx="867673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2400" dirty="0">
                <a:solidFill>
                  <a:prstClr val="black"/>
                </a:solidFill>
                <a:latin typeface="Calibri" panose="020F0502020204030204"/>
              </a:rPr>
              <a:t>Gävle </a:t>
            </a:r>
            <a:r>
              <a:rPr lang="sv-SE" sz="2400" dirty="0" err="1">
                <a:solidFill>
                  <a:prstClr val="black"/>
                </a:solidFill>
                <a:latin typeface="Calibri" panose="020F0502020204030204"/>
              </a:rPr>
              <a:t>GK´s</a:t>
            </a:r>
            <a:r>
              <a:rPr lang="sv-SE" sz="2400" dirty="0">
                <a:solidFill>
                  <a:prstClr val="black"/>
                </a:solidFill>
                <a:latin typeface="Calibri" panose="020F0502020204030204"/>
              </a:rPr>
              <a:t> idrottsutvecklingsmodell**</a:t>
            </a:r>
            <a:endParaRPr kumimoji="0" 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sz="2400" dirty="0">
              <a:solidFill>
                <a:prstClr val="black"/>
              </a:solidFill>
              <a:latin typeface="Calibri" panose="020F0502020204030204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ävling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sz="2400" dirty="0">
              <a:solidFill>
                <a:prstClr val="black"/>
              </a:solidFill>
              <a:latin typeface="Calibri" panose="020F0502020204030204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nterträning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24BD58-807C-14A5-CE0F-DCB5DA0FC1F2}"/>
              </a:ext>
            </a:extLst>
          </p:cNvPr>
          <p:cNvSpPr txBox="1"/>
          <p:nvPr/>
        </p:nvSpPr>
        <p:spPr>
          <a:xfrm>
            <a:off x="8717691" y="6304518"/>
            <a:ext cx="29058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</a:t>
            </a:r>
            <a:r>
              <a:rPr kumimoji="0" lang="en-AU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serad</a:t>
            </a:r>
            <a:r>
              <a:rPr kumimoji="0" lang="en-A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</a:t>
            </a:r>
            <a:r>
              <a:rPr kumimoji="0" lang="en-A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GF </a:t>
            </a:r>
            <a:r>
              <a:rPr kumimoji="0" lang="en-AU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vecklingstrappa</a:t>
            </a:r>
            <a:endParaRPr kumimoji="0" lang="en-AU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09714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4400" dirty="0">
                <a:solidFill>
                  <a:prstClr val="black"/>
                </a:solidFill>
                <a:latin typeface="Calibri Light" panose="020F0302020204030204"/>
              </a:rPr>
              <a:t>Säsongen 2023 – Vad gör vi</a:t>
            </a:r>
            <a:endParaRPr kumimoji="0" lang="sv-SE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ruta 1">
            <a:extLst>
              <a:ext uri="{FF2B5EF4-FFF2-40B4-BE49-F238E27FC236}">
                <a16:creationId xmlns:a16="http://schemas.microsoft.com/office/drawing/2014/main" id="{16A3FF82-8245-DDB9-A38B-F49B38241114}"/>
              </a:ext>
            </a:extLst>
          </p:cNvPr>
          <p:cNvSpPr txBox="1"/>
          <p:nvPr/>
        </p:nvSpPr>
        <p:spPr>
          <a:xfrm>
            <a:off x="1145755" y="1985853"/>
            <a:ext cx="5894434" cy="45243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Vinterträning</a:t>
            </a:r>
          </a:p>
          <a:p>
            <a:endParaRPr lang="sv-S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Läger 3 dagar på Söderby GK 29 apr – 1 maj</a:t>
            </a:r>
          </a:p>
          <a:p>
            <a:endParaRPr lang="sv-S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Läger 2 dagar på </a:t>
            </a:r>
            <a:r>
              <a:rPr lang="sv-SE" sz="2400" dirty="0" err="1"/>
              <a:t>Högbo</a:t>
            </a:r>
            <a:r>
              <a:rPr lang="sv-SE" sz="2400" dirty="0"/>
              <a:t> GK 6-7 maj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prstClr val="black"/>
                </a:solidFill>
                <a:latin typeface="Calibri" panose="020F0502020204030204"/>
              </a:rPr>
              <a:t>Teen Cup Camp (midsommarveckan)</a:t>
            </a:r>
            <a:br>
              <a:rPr lang="sv-SE" sz="2400" dirty="0"/>
            </a:br>
            <a:endParaRPr lang="sv-S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Tävling och träning maj – </a:t>
            </a:r>
            <a:r>
              <a:rPr lang="sv-SE" sz="2400" dirty="0" err="1"/>
              <a:t>sept</a:t>
            </a:r>
            <a:r>
              <a:rPr lang="sv-SE" sz="2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Träningsuppehåll Juli</a:t>
            </a:r>
          </a:p>
          <a:p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18037618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333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4400" dirty="0">
                <a:solidFill>
                  <a:prstClr val="black"/>
                </a:solidFill>
                <a:latin typeface="Calibri Light" panose="020F0302020204030204"/>
              </a:rPr>
              <a:t>Säsongen 2023</a:t>
            </a: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380CB0C1-FD9C-9723-42D3-86C132CD9973}"/>
              </a:ext>
            </a:extLst>
          </p:cNvPr>
          <p:cNvSpPr txBox="1"/>
          <p:nvPr/>
        </p:nvSpPr>
        <p:spPr>
          <a:xfrm>
            <a:off x="838200" y="1727518"/>
            <a:ext cx="4668520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2000" dirty="0">
                <a:solidFill>
                  <a:prstClr val="black"/>
                </a:solidFill>
                <a:latin typeface="Calibri" panose="020F0502020204030204"/>
              </a:rPr>
              <a:t>Träningsavgifter 2023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sz="2000" dirty="0">
              <a:solidFill>
                <a:prstClr val="black"/>
              </a:solidFill>
              <a:latin typeface="Calibri" panose="020F0502020204030204"/>
            </a:endParaRPr>
          </a:p>
          <a:p>
            <a:pPr marL="742950" lvl="1" indent="-285750" defTabSz="457200">
              <a:buFont typeface="Arial" panose="020B0604020202020204" pitchFamily="34" charset="0"/>
              <a:buChar char="•"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å Grupp		1200 kr</a:t>
            </a:r>
          </a:p>
          <a:p>
            <a:pPr marL="742950" lvl="1" indent="-285750" defTabSz="457200"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prstClr val="black"/>
                </a:solidFill>
                <a:latin typeface="Calibri" panose="020F0502020204030204"/>
              </a:rPr>
              <a:t>Grön Grupp	1600 kr</a:t>
            </a:r>
          </a:p>
          <a:p>
            <a:pPr marL="742950" lvl="1" indent="-285750" defTabSz="457200">
              <a:buFont typeface="Arial" panose="020B0604020202020204" pitchFamily="34" charset="0"/>
              <a:buChar char="•"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ul Grupp		2300 kr</a:t>
            </a:r>
          </a:p>
          <a:p>
            <a:pPr marL="742950" lvl="1" indent="-285750" defTabSz="457200">
              <a:buFont typeface="Arial" panose="020B0604020202020204" pitchFamily="34" charset="0"/>
              <a:buChar char="•"/>
              <a:defRPr/>
            </a:pPr>
            <a:endParaRPr lang="sv-SE" sz="2000" dirty="0">
              <a:solidFill>
                <a:prstClr val="black"/>
              </a:solidFill>
              <a:latin typeface="Calibri" panose="020F0502020204030204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2000" dirty="0">
                <a:solidFill>
                  <a:prstClr val="black"/>
                </a:solidFill>
                <a:latin typeface="Calibri" panose="020F0502020204030204"/>
              </a:rPr>
              <a:t>Pikétröjor </a:t>
            </a:r>
            <a:r>
              <a:rPr lang="sv-SE" sz="2000" dirty="0" err="1">
                <a:solidFill>
                  <a:prstClr val="black"/>
                </a:solidFill>
                <a:latin typeface="Calibri" panose="020F0502020204030204"/>
              </a:rPr>
              <a:t>Footjoy</a:t>
            </a:r>
            <a:r>
              <a:rPr lang="sv-SE" sz="2000" dirty="0">
                <a:solidFill>
                  <a:prstClr val="black"/>
                </a:solidFill>
                <a:latin typeface="Calibri" panose="020F0502020204030204"/>
              </a:rPr>
              <a:t> </a:t>
            </a: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½ priset på </a:t>
            </a:r>
            <a:r>
              <a:rPr kumimoji="0" lang="sv-S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ngebollar</a:t>
            </a: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endParaRPr lang="sv-SE" sz="2000" dirty="0">
              <a:solidFill>
                <a:prstClr val="black"/>
              </a:solidFill>
              <a:latin typeface="Calibri" panose="020F0502020204030204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 till 20% rabatt i PQ shopen (ej kläder)</a:t>
            </a: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2000" dirty="0">
                <a:solidFill>
                  <a:prstClr val="black"/>
                </a:solidFill>
                <a:latin typeface="Calibri" panose="020F0502020204030204"/>
              </a:rPr>
              <a:t>Träningsläger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sz="2000" dirty="0">
              <a:solidFill>
                <a:prstClr val="black"/>
              </a:solidFill>
              <a:latin typeface="Calibri" panose="020F0502020204030204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4">
            <a:extLst>
              <a:ext uri="{FF2B5EF4-FFF2-40B4-BE49-F238E27FC236}">
                <a16:creationId xmlns:a16="http://schemas.microsoft.com/office/drawing/2014/main" id="{4AE97521-ADDB-F7EB-164D-23DFB2CA8FC2}"/>
              </a:ext>
            </a:extLst>
          </p:cNvPr>
          <p:cNvSpPr txBox="1"/>
          <p:nvPr/>
        </p:nvSpPr>
        <p:spPr>
          <a:xfrm>
            <a:off x="6227962" y="1727518"/>
            <a:ext cx="4495800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kumimoji="0" lang="sv-S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llknacking</a:t>
            </a: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3-4 ggr/år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sz="2000" dirty="0">
              <a:solidFill>
                <a:prstClr val="black"/>
              </a:solidFill>
              <a:latin typeface="Calibri" panose="020F0502020204030204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sv-SE" sz="2000" dirty="0" err="1">
                <a:solidFill>
                  <a:prstClr val="black"/>
                </a:solidFill>
                <a:latin typeface="Calibri" panose="020F0502020204030204"/>
              </a:rPr>
              <a:t>Teen</a:t>
            </a:r>
            <a:r>
              <a:rPr lang="sv-SE" sz="2000" dirty="0">
                <a:solidFill>
                  <a:prstClr val="black"/>
                </a:solidFill>
                <a:latin typeface="Calibri" panose="020F0502020204030204"/>
              </a:rPr>
              <a:t> Cup Camp (midsommarveckan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SM Gävle 3-6 augusti, </a:t>
            </a:r>
            <a:r>
              <a:rPr kumimoji="0" lang="sv-S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ecaddie</a:t>
            </a: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emanning </a:t>
            </a:r>
            <a:r>
              <a:rPr kumimoji="0" lang="sv-S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an</a:t>
            </a: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ål 7 (8:30-14:00)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sz="2000" dirty="0">
              <a:solidFill>
                <a:prstClr val="black"/>
              </a:solidFill>
              <a:latin typeface="Calibri" panose="020F0502020204030204"/>
            </a:endParaRPr>
          </a:p>
          <a:p>
            <a:pPr marL="742950" lvl="1" indent="-285750" defTabSz="457200">
              <a:buFont typeface="Arial" panose="020B0604020202020204" pitchFamily="34" charset="0"/>
              <a:buChar char="•"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09 torsdag 3/8 </a:t>
            </a:r>
          </a:p>
          <a:p>
            <a:pPr marL="742950" lvl="1" indent="-285750" defTabSz="457200"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prstClr val="black"/>
                </a:solidFill>
                <a:latin typeface="Calibri" panose="020F0502020204030204"/>
              </a:rPr>
              <a:t>P10 fredag 4/8</a:t>
            </a:r>
          </a:p>
          <a:p>
            <a:pPr marL="742950" lvl="1" indent="-285750" defTabSz="457200">
              <a:buFont typeface="Arial" panose="020B0604020202020204" pitchFamily="34" charset="0"/>
              <a:buChar char="•"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11 lördag 5/8</a:t>
            </a:r>
          </a:p>
          <a:p>
            <a:pPr marL="742950" lvl="1" indent="-285750" defTabSz="457200"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prstClr val="black"/>
                </a:solidFill>
                <a:latin typeface="Calibri" panose="020F0502020204030204"/>
              </a:rPr>
              <a:t>P12-13 söndag 6/8</a:t>
            </a:r>
          </a:p>
          <a:p>
            <a:pPr marL="742950" lvl="1" indent="-285750" defTabSz="457200">
              <a:buFont typeface="Arial" panose="020B0604020202020204" pitchFamily="34" charset="0"/>
              <a:buChar char="•"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prstClr val="black"/>
                </a:solidFill>
                <a:latin typeface="Calibri" panose="020F0502020204030204"/>
              </a:rPr>
              <a:t>Tävlingsschema</a:t>
            </a: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04610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Värderinga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9095E213-6D45-DB82-9231-1753B0DC7E70}"/>
              </a:ext>
            </a:extLst>
          </p:cNvPr>
          <p:cNvSpPr txBox="1"/>
          <p:nvPr/>
        </p:nvSpPr>
        <p:spPr>
          <a:xfrm>
            <a:off x="838200" y="2256367"/>
            <a:ext cx="8246076" cy="34855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VECKLA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om att få första kontakten med golfen i golfskola och sedan komma in i ledarledda träning ska ungdomarna, oavsett ålder känna att de utvecklas som golfare och individ. De ska snabbt känna att de kan slå golfbollen så de kan i tidiga år komma ut på golfbanan och spela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RA SIG NYA SAKE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om att ha en konsekvent träning som är noggrant planerad ska ungdomarna känna att de lär sig nya saker och blir trygg i sin kunskap. Övningar ska repeteras pedagogiskt så en trygghet skapas innan nästa steg ta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ÄNNA SPÄNNIN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larna ska få uppleva spänning både i träning och i spel på banan redan under sitt första golfår. Träningen innehåller tävlingsmoment anpassat till ålder. Spelaren har möjlighet att spela på banan oavsett </a:t>
            </a:r>
            <a:r>
              <a:rPr kumimoji="0" lang="sv-SE" alt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cp</a:t>
            </a:r>
            <a:r>
              <a:rPr kumimoji="0" lang="sv-SE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ller inte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FFA KOMPISAR - GEMENSKAP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menskap byggs upp genom att alla ungdomar känner att de utvecklas, lär sig något så gruppen blir ”intakt” genom åren. Gemenskap skapas också genom aktiviteter i och utanför golfen. T.ex. läger och åka bada tillsamman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 KUL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gdomarna kommer uppleva att det är kul p.g.a. att ledarna ger uppmärksamhet, feedback samt att gruppen och individen känner utveckling. Det skapas även glädje genom positiva ledare, roliga inslag i övningar samt att gruppen har en trygghet tillsammans.</a:t>
            </a:r>
          </a:p>
        </p:txBody>
      </p:sp>
    </p:spTree>
    <p:extLst>
      <p:ext uri="{BB962C8B-B14F-4D97-AF65-F5344CB8AC3E}">
        <p14:creationId xmlns:p14="http://schemas.microsoft.com/office/powerpoint/2010/main" val="15579431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Kultur 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E3960E74-897D-6E21-6240-16537C98F67A}"/>
              </a:ext>
            </a:extLst>
          </p:cNvPr>
          <p:cNvSpPr txBox="1"/>
          <p:nvPr/>
        </p:nvSpPr>
        <p:spPr>
          <a:xfrm>
            <a:off x="2216989" y="2391578"/>
            <a:ext cx="832449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 </a:t>
            </a:r>
            <a:r>
              <a:rPr kumimoji="0" lang="en-AU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</a:t>
            </a:r>
            <a:r>
              <a:rPr kumimoji="0" lang="en-AU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veriges</a:t>
            </a:r>
            <a:r>
              <a:rPr kumimoji="0" lang="en-AU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rkaste</a:t>
            </a:r>
            <a:r>
              <a:rPr kumimoji="0" lang="en-AU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skultur</a:t>
            </a:r>
            <a:endParaRPr kumimoji="0" lang="en-AU" sz="2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 hjälper våra barn och ungdomar att från en tidig ålder uppleva en brant utvecklingskurva med känsla av framgång och glädj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 får alltid en kram när man kommer i må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 jobbar tillsammans mot lägre </a:t>
            </a:r>
            <a:r>
              <a:rPr kumimoji="0" lang="sv-SE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orer</a:t>
            </a:r>
            <a:endParaRPr kumimoji="0" lang="sv-SE" sz="2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48197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Utveckling är glädje och fortsatt idrottand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252517EB-F066-F90C-D9D9-C0E8998D1946}"/>
              </a:ext>
            </a:extLst>
          </p:cNvPr>
          <p:cNvCxnSpPr>
            <a:cxnSpLocks/>
          </p:cNvCxnSpPr>
          <p:nvPr/>
        </p:nvCxnSpPr>
        <p:spPr>
          <a:xfrm flipV="1">
            <a:off x="2109658" y="2108884"/>
            <a:ext cx="0" cy="281941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9BC93569-CD7F-4768-B6F0-6656B767A579}"/>
              </a:ext>
            </a:extLst>
          </p:cNvPr>
          <p:cNvCxnSpPr>
            <a:cxnSpLocks/>
          </p:cNvCxnSpPr>
          <p:nvPr/>
        </p:nvCxnSpPr>
        <p:spPr>
          <a:xfrm>
            <a:off x="1891291" y="4709936"/>
            <a:ext cx="4353638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F13A4575-9457-2208-020C-71C52E3EACF1}"/>
              </a:ext>
            </a:extLst>
          </p:cNvPr>
          <p:cNvCxnSpPr/>
          <p:nvPr/>
        </p:nvCxnSpPr>
        <p:spPr>
          <a:xfrm flipV="1">
            <a:off x="2437204" y="3386103"/>
            <a:ext cx="1651379" cy="832513"/>
          </a:xfrm>
          <a:prstGeom prst="bentConnector3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D879E68C-BAE7-1BB8-B688-88F2B47C276F}"/>
              </a:ext>
            </a:extLst>
          </p:cNvPr>
          <p:cNvCxnSpPr/>
          <p:nvPr/>
        </p:nvCxnSpPr>
        <p:spPr>
          <a:xfrm flipV="1">
            <a:off x="3351604" y="2556655"/>
            <a:ext cx="1651379" cy="832513"/>
          </a:xfrm>
          <a:prstGeom prst="bentConnector3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3144E72-C851-57D2-7281-817EBB3A962F}"/>
              </a:ext>
            </a:extLst>
          </p:cNvPr>
          <p:cNvCxnSpPr>
            <a:cxnSpLocks/>
          </p:cNvCxnSpPr>
          <p:nvPr/>
        </p:nvCxnSpPr>
        <p:spPr>
          <a:xfrm flipV="1">
            <a:off x="7687772" y="2836385"/>
            <a:ext cx="9621" cy="2006222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4494CF6-3D87-72B8-A48B-D59C6304EACA}"/>
              </a:ext>
            </a:extLst>
          </p:cNvPr>
          <p:cNvCxnSpPr>
            <a:cxnSpLocks/>
          </p:cNvCxnSpPr>
          <p:nvPr/>
        </p:nvCxnSpPr>
        <p:spPr>
          <a:xfrm flipV="1">
            <a:off x="7502804" y="4656145"/>
            <a:ext cx="2645378" cy="192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B6F3E03-E66A-099C-4AAE-F5027372237B}"/>
              </a:ext>
            </a:extLst>
          </p:cNvPr>
          <p:cNvCxnSpPr>
            <a:cxnSpLocks/>
          </p:cNvCxnSpPr>
          <p:nvPr/>
        </p:nvCxnSpPr>
        <p:spPr>
          <a:xfrm flipV="1">
            <a:off x="7870798" y="4008515"/>
            <a:ext cx="1930575" cy="9592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2">
            <a:extLst>
              <a:ext uri="{FF2B5EF4-FFF2-40B4-BE49-F238E27FC236}">
                <a16:creationId xmlns:a16="http://schemas.microsoft.com/office/drawing/2014/main" id="{1324DE9F-4518-5947-8151-55BE9B020D9A}"/>
              </a:ext>
            </a:extLst>
          </p:cNvPr>
          <p:cNvSpPr txBox="1">
            <a:spLocks/>
          </p:cNvSpPr>
          <p:nvPr/>
        </p:nvSpPr>
        <p:spPr>
          <a:xfrm>
            <a:off x="1891291" y="5236353"/>
            <a:ext cx="8003881" cy="87673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För att våra barn och ungdomar ska fortsätta med golf som idrott är utveckling i åldern 10-14 år väldigt viktig. Barn och ungdomars känsla av utveckling, att man blir bättre på något hela tiden är avgörande för att man ska fortsätta med golf.</a:t>
            </a:r>
            <a:endParaRPr kumimoji="0" lang="en-US" altLang="en-US" sz="1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2305502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Förutsättningar att utveckla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380CB0C1-FD9C-9723-42D3-86C132CD9973}"/>
              </a:ext>
            </a:extLst>
          </p:cNvPr>
          <p:cNvSpPr txBox="1"/>
          <p:nvPr/>
        </p:nvSpPr>
        <p:spPr>
          <a:xfrm>
            <a:off x="838200" y="2698418"/>
            <a:ext cx="6096000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räcklig träningstid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räcklig sparring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räcklig coachning och tränarstöd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räcklig mängd tävlingar </a:t>
            </a:r>
          </a:p>
        </p:txBody>
      </p:sp>
    </p:spTree>
    <p:extLst>
      <p:ext uri="{BB962C8B-B14F-4D97-AF65-F5344CB8AC3E}">
        <p14:creationId xmlns:p14="http://schemas.microsoft.com/office/powerpoint/2010/main" val="264548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Gävle GK på plats 3 av 260 klubbar i Sveri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EA66BE91-442B-BC7A-B841-8737771A62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9690" y="1656235"/>
            <a:ext cx="3260783" cy="4762500"/>
          </a:xfrm>
          <a:prstGeom prst="rect">
            <a:avLst/>
          </a:prstGeom>
          <a:ln>
            <a:noFill/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54FC56D-6B0F-19EB-5EC9-2AABE95A2D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46403" y="2112527"/>
            <a:ext cx="3260783" cy="393382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A4AC26D-B573-3248-46D1-245684CD658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05082" y="2112527"/>
            <a:ext cx="3260783" cy="235267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019C557C-8FBB-D9C7-20FA-C809F5FF4733}"/>
              </a:ext>
            </a:extLst>
          </p:cNvPr>
          <p:cNvSpPr txBox="1"/>
          <p:nvPr/>
        </p:nvSpPr>
        <p:spPr>
          <a:xfrm>
            <a:off x="4146403" y="1656235"/>
            <a:ext cx="3260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GF Ranking </a:t>
            </a:r>
            <a:r>
              <a:rPr kumimoji="0" lang="en-A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jkar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uniorer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19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BE9A814-0D81-11D0-2E27-FB7E12CABB3F}"/>
              </a:ext>
            </a:extLst>
          </p:cNvPr>
          <p:cNvSpPr txBox="1"/>
          <p:nvPr/>
        </p:nvSpPr>
        <p:spPr>
          <a:xfrm>
            <a:off x="7618253" y="1656235"/>
            <a:ext cx="33436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GF Ranking </a:t>
            </a:r>
            <a:r>
              <a:rPr kumimoji="0" lang="en-A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ickor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uniorer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11)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2658DC5-F2C9-38BC-0AE4-4B727A8489B1}"/>
              </a:ext>
            </a:extLst>
          </p:cNvPr>
          <p:cNvSpPr/>
          <p:nvPr/>
        </p:nvSpPr>
        <p:spPr>
          <a:xfrm>
            <a:off x="759689" y="2708694"/>
            <a:ext cx="1267519" cy="224287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738616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Gruppindelningar och utvecklingssteg 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986D90F-71C7-E4DC-B42F-9AF961BF49C3}"/>
              </a:ext>
            </a:extLst>
          </p:cNvPr>
          <p:cNvSpPr/>
          <p:nvPr/>
        </p:nvSpPr>
        <p:spPr>
          <a:xfrm>
            <a:off x="2321051" y="4454651"/>
            <a:ext cx="2170672" cy="13962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rn -12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811077B-5382-1BA2-65D3-1121A21FF74F}"/>
              </a:ext>
            </a:extLst>
          </p:cNvPr>
          <p:cNvSpPr/>
          <p:nvPr/>
        </p:nvSpPr>
        <p:spPr>
          <a:xfrm>
            <a:off x="4781561" y="3453966"/>
            <a:ext cx="2170672" cy="1396232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gdom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3-16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98AECB4-8CDE-FBDE-7D1E-1AF635DFE0F2}"/>
              </a:ext>
            </a:extLst>
          </p:cNvPr>
          <p:cNvSpPr/>
          <p:nvPr/>
        </p:nvSpPr>
        <p:spPr>
          <a:xfrm>
            <a:off x="7242071" y="2374643"/>
            <a:ext cx="2170672" cy="1396232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itjun17-21</a:t>
            </a:r>
          </a:p>
        </p:txBody>
      </p:sp>
    </p:spTree>
    <p:extLst>
      <p:ext uri="{BB962C8B-B14F-4D97-AF65-F5344CB8AC3E}">
        <p14:creationId xmlns:p14="http://schemas.microsoft.com/office/powerpoint/2010/main" val="2286436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EB1761-E9EC-4582-A93F-6977FDAF8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EB1761-E9EC-4582-A93F-6977FDAF8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067F0E00-7CDA-4ED2-9250-658496BCAAA2}"/>
              </a:ext>
            </a:extLst>
          </p:cNvPr>
          <p:cNvSpPr txBox="1">
            <a:spLocks/>
          </p:cNvSpPr>
          <p:nvPr/>
        </p:nvSpPr>
        <p:spPr>
          <a:xfrm>
            <a:off x="838200" y="1841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Gruppträning och egen träning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76B747-64D4-4264-BB45-148A8C0A4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1887" y="378377"/>
            <a:ext cx="764775" cy="1067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D56F30-D871-4925-85BC-A54BEF7108C2}"/>
              </a:ext>
            </a:extLst>
          </p:cNvPr>
          <p:cNvCxnSpPr>
            <a:cxnSpLocks/>
          </p:cNvCxnSpPr>
          <p:nvPr/>
        </p:nvCxnSpPr>
        <p:spPr>
          <a:xfrm flipV="1">
            <a:off x="838200" y="1445577"/>
            <a:ext cx="9885562" cy="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661BC012-D0A7-00D2-245A-EDB4A9CB68B9}"/>
              </a:ext>
            </a:extLst>
          </p:cNvPr>
          <p:cNvSpPr/>
          <p:nvPr/>
        </p:nvSpPr>
        <p:spPr>
          <a:xfrm rot="10800000">
            <a:off x="2311878" y="5037473"/>
            <a:ext cx="6975895" cy="966159"/>
          </a:xfrm>
          <a:prstGeom prst="triangle">
            <a:avLst>
              <a:gd name="adj" fmla="val 99999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A108CCC-71C0-8E7F-7D58-5A54071E10BA}"/>
              </a:ext>
            </a:extLst>
          </p:cNvPr>
          <p:cNvSpPr/>
          <p:nvPr/>
        </p:nvSpPr>
        <p:spPr>
          <a:xfrm>
            <a:off x="2346692" y="3459192"/>
            <a:ext cx="2170672" cy="139623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rn -12 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F940F38-1B51-4DD1-F0F6-52A82923B438}"/>
              </a:ext>
            </a:extLst>
          </p:cNvPr>
          <p:cNvSpPr/>
          <p:nvPr/>
        </p:nvSpPr>
        <p:spPr>
          <a:xfrm>
            <a:off x="7051941" y="2298853"/>
            <a:ext cx="2170672" cy="139623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itjun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7-21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79F4BF5-5A22-28B3-69B9-D7237749D3D4}"/>
              </a:ext>
            </a:extLst>
          </p:cNvPr>
          <p:cNvSpPr/>
          <p:nvPr/>
        </p:nvSpPr>
        <p:spPr>
          <a:xfrm>
            <a:off x="4714489" y="2852101"/>
            <a:ext cx="2170672" cy="139623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gdom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3-16</a:t>
            </a: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B9DB98C8-CE1D-2368-48BB-00DFB7DE0824}"/>
              </a:ext>
            </a:extLst>
          </p:cNvPr>
          <p:cNvSpPr/>
          <p:nvPr/>
        </p:nvSpPr>
        <p:spPr>
          <a:xfrm>
            <a:off x="2311879" y="5121364"/>
            <a:ext cx="6975894" cy="966159"/>
          </a:xfrm>
          <a:prstGeom prst="triangle">
            <a:avLst>
              <a:gd name="adj" fmla="val 99999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B6AA5D-7AFD-9857-1C5B-F2680C7DA94C}"/>
              </a:ext>
            </a:extLst>
          </p:cNvPr>
          <p:cNvSpPr txBox="1"/>
          <p:nvPr/>
        </p:nvSpPr>
        <p:spPr>
          <a:xfrm>
            <a:off x="2346692" y="5275232"/>
            <a:ext cx="18494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uppträning</a:t>
            </a: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0E60531-0EA6-9C6E-EE54-DF5A872EB95A}"/>
              </a:ext>
            </a:extLst>
          </p:cNvPr>
          <p:cNvSpPr txBox="1"/>
          <p:nvPr/>
        </p:nvSpPr>
        <p:spPr>
          <a:xfrm>
            <a:off x="7851783" y="5412423"/>
            <a:ext cx="18494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gen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äning</a:t>
            </a: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82612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8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2</TotalTime>
  <Words>1492</Words>
  <Application>Microsoft Office PowerPoint</Application>
  <PresentationFormat>Bredbild</PresentationFormat>
  <Paragraphs>201</Paragraphs>
  <Slides>21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1</vt:i4>
      </vt:variant>
    </vt:vector>
  </HeadingPairs>
  <TitlesOfParts>
    <vt:vector size="26" baseType="lpstr">
      <vt:lpstr>Arial</vt:lpstr>
      <vt:lpstr>Calibri</vt:lpstr>
      <vt:lpstr>Calibri Light</vt:lpstr>
      <vt:lpstr>3_Office Theme</vt:lpstr>
      <vt:lpstr>think-cell Slide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scar Hertzman</dc:creator>
  <cp:lastModifiedBy>Fredrik Lindeborg</cp:lastModifiedBy>
  <cp:revision>16</cp:revision>
  <dcterms:created xsi:type="dcterms:W3CDTF">2022-11-17T14:21:49Z</dcterms:created>
  <dcterms:modified xsi:type="dcterms:W3CDTF">2023-04-20T17:40:29Z</dcterms:modified>
</cp:coreProperties>
</file>